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4"/>
  </p:sldMasterIdLst>
  <p:notesMasterIdLst>
    <p:notesMasterId r:id="rId6"/>
  </p:notesMasterIdLst>
  <p:sldIdLst>
    <p:sldId id="266" r:id="rId5"/>
  </p:sldIdLst>
  <p:sldSz cx="30275213" cy="48202850"/>
  <p:notesSz cx="9926638" cy="14355763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61" userDrawn="1">
          <p15:clr>
            <a:srgbClr val="A4A3A4"/>
          </p15:clr>
        </p15:guide>
        <p15:guide id="2" pos="554" userDrawn="1">
          <p15:clr>
            <a:srgbClr val="A4A3A4"/>
          </p15:clr>
        </p15:guide>
        <p15:guide id="3" pos="188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8565"/>
    <a:srgbClr val="0092B0"/>
    <a:srgbClr val="0F2DB3"/>
    <a:srgbClr val="8DAAC8"/>
    <a:srgbClr val="32373E"/>
    <a:srgbClr val="244A86"/>
    <a:srgbClr val="E71E1E"/>
    <a:srgbClr val="778592"/>
    <a:srgbClr val="0072EF"/>
    <a:srgbClr val="6AB0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4BD179-9FD2-4153-921D-364DF4E9FA17}" v="146" dt="2025-02-13T12:09:37.7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47" autoAdjust="0"/>
    <p:restoredTop sz="94660"/>
  </p:normalViewPr>
  <p:slideViewPr>
    <p:cSldViewPr snapToGrid="0">
      <p:cViewPr>
        <p:scale>
          <a:sx n="60" d="100"/>
          <a:sy n="60" d="100"/>
        </p:scale>
        <p:origin x="988" y="-268"/>
      </p:cViewPr>
      <p:guideLst>
        <p:guide orient="horz" pos="29861"/>
        <p:guide pos="554"/>
        <p:guide pos="188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6" d="100"/>
          <a:sy n="76" d="100"/>
        </p:scale>
        <p:origin x="4712" y="84"/>
      </p:cViewPr>
      <p:guideLst/>
    </p:cSldViewPr>
  </p:notesViewPr>
  <p:gridSpacing cx="360000" cy="36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mad, Leila" userId="e0060735-4e0b-46c7-a6c3-c0cf6b3fb745" providerId="ADAL" clId="{0ED2B8B0-414D-4039-A12B-2D31AAC8F0FA}"/>
    <pc:docChg chg="custSel modSld modMainMaster">
      <pc:chgData name="Hammad, Leila" userId="e0060735-4e0b-46c7-a6c3-c0cf6b3fb745" providerId="ADAL" clId="{0ED2B8B0-414D-4039-A12B-2D31AAC8F0FA}" dt="2023-02-06T09:10:35.426" v="156" actId="20577"/>
      <pc:docMkLst>
        <pc:docMk/>
      </pc:docMkLst>
      <pc:sldChg chg="modSp mod">
        <pc:chgData name="Hammad, Leila" userId="e0060735-4e0b-46c7-a6c3-c0cf6b3fb745" providerId="ADAL" clId="{0ED2B8B0-414D-4039-A12B-2D31AAC8F0FA}" dt="2023-02-06T09:10:35.426" v="156" actId="20577"/>
        <pc:sldMkLst>
          <pc:docMk/>
          <pc:sldMk cId="1430462515" sldId="266"/>
        </pc:sldMkLst>
        <pc:spChg chg="mod">
          <ac:chgData name="Hammad, Leila" userId="e0060735-4e0b-46c7-a6c3-c0cf6b3fb745" providerId="ADAL" clId="{0ED2B8B0-414D-4039-A12B-2D31AAC8F0FA}" dt="2023-02-06T09:10:35.426" v="156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0ED2B8B0-414D-4039-A12B-2D31AAC8F0FA}" dt="2023-02-06T09:08:20.044" v="91" actId="20577"/>
          <ac:spMkLst>
            <pc:docMk/>
            <pc:sldMk cId="1430462515" sldId="266"/>
            <ac:spMk id="6" creationId="{490ACC0D-4708-49F8-89F6-0D0135133B48}"/>
          </ac:spMkLst>
        </pc:spChg>
      </pc:sldChg>
      <pc:sldMasterChg chg="modSp mod">
        <pc:chgData name="Hammad, Leila" userId="e0060735-4e0b-46c7-a6c3-c0cf6b3fb745" providerId="ADAL" clId="{0ED2B8B0-414D-4039-A12B-2D31AAC8F0FA}" dt="2023-02-06T09:10:02.065" v="151" actId="20577"/>
        <pc:sldMasterMkLst>
          <pc:docMk/>
          <pc:sldMasterMk cId="1386213227" sldId="2147483720"/>
        </pc:sldMasterMkLst>
        <pc:spChg chg="mod">
          <ac:chgData name="Hammad, Leila" userId="e0060735-4e0b-46c7-a6c3-c0cf6b3fb745" providerId="ADAL" clId="{0ED2B8B0-414D-4039-A12B-2D31AAC8F0FA}" dt="2023-02-06T09:10:02.065" v="151" actId="20577"/>
          <ac:spMkLst>
            <pc:docMk/>
            <pc:sldMasterMk cId="1386213227" sldId="2147483720"/>
            <ac:spMk id="11" creationId="{719D3FB4-6A06-40A4-95A8-330F0EC72828}"/>
          </ac:spMkLst>
        </pc:spChg>
      </pc:sldMasterChg>
    </pc:docChg>
  </pc:docChgLst>
  <pc:docChgLst>
    <pc:chgData name="Hammad, Leila" userId="e0060735-4e0b-46c7-a6c3-c0cf6b3fb745" providerId="ADAL" clId="{C372EB4E-FF57-4A4B-A48B-AD1FB33BD8C6}"/>
    <pc:docChg chg="undo custSel modSld modMainMaster">
      <pc:chgData name="Hammad, Leila" userId="e0060735-4e0b-46c7-a6c3-c0cf6b3fb745" providerId="ADAL" clId="{C372EB4E-FF57-4A4B-A48B-AD1FB33BD8C6}" dt="2024-01-16T13:18:22.731" v="249" actId="6549"/>
      <pc:docMkLst>
        <pc:docMk/>
      </pc:docMkLst>
      <pc:sldChg chg="addSp delSp modSp mod">
        <pc:chgData name="Hammad, Leila" userId="e0060735-4e0b-46c7-a6c3-c0cf6b3fb745" providerId="ADAL" clId="{C372EB4E-FF57-4A4B-A48B-AD1FB33BD8C6}" dt="2024-01-16T13:17:54.936" v="244" actId="20577"/>
        <pc:sldMkLst>
          <pc:docMk/>
          <pc:sldMk cId="1430462515" sldId="266"/>
        </pc:sldMkLst>
        <pc:spChg chg="add mod">
          <ac:chgData name="Hammad, Leila" userId="e0060735-4e0b-46c7-a6c3-c0cf6b3fb745" providerId="ADAL" clId="{C372EB4E-FF57-4A4B-A48B-AD1FB33BD8C6}" dt="2024-01-16T13:14:08.548" v="109" actId="1076"/>
          <ac:spMkLst>
            <pc:docMk/>
            <pc:sldMk cId="1430462515" sldId="266"/>
            <ac:spMk id="2" creationId="{BC400C14-ACDE-33D2-711C-1307DD851FF7}"/>
          </ac:spMkLst>
        </pc:spChg>
        <pc:spChg chg="mod">
          <ac:chgData name="Hammad, Leila" userId="e0060735-4e0b-46c7-a6c3-c0cf6b3fb745" providerId="ADAL" clId="{C372EB4E-FF57-4A4B-A48B-AD1FB33BD8C6}" dt="2024-01-16T13:17:54.936" v="244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C372EB4E-FF57-4A4B-A48B-AD1FB33BD8C6}" dt="2024-01-16T13:11:24.640" v="80"/>
          <ac:spMkLst>
            <pc:docMk/>
            <pc:sldMk cId="1430462515" sldId="266"/>
            <ac:spMk id="5" creationId="{9E30A2DA-169F-402D-BAD7-2729E2BFA514}"/>
          </ac:spMkLst>
        </pc:spChg>
        <pc:spChg chg="del">
          <ac:chgData name="Hammad, Leila" userId="e0060735-4e0b-46c7-a6c3-c0cf6b3fb745" providerId="ADAL" clId="{C372EB4E-FF57-4A4B-A48B-AD1FB33BD8C6}" dt="2024-01-16T13:08:40.064" v="10" actId="21"/>
          <ac:spMkLst>
            <pc:docMk/>
            <pc:sldMk cId="1430462515" sldId="266"/>
            <ac:spMk id="6" creationId="{490ACC0D-4708-49F8-89F6-0D0135133B48}"/>
          </ac:spMkLst>
        </pc:spChg>
        <pc:spChg chg="add mod">
          <ac:chgData name="Hammad, Leila" userId="e0060735-4e0b-46c7-a6c3-c0cf6b3fb745" providerId="ADAL" clId="{C372EB4E-FF57-4A4B-A48B-AD1FB33BD8C6}" dt="2024-01-16T13:17:03.829" v="234" actId="403"/>
          <ac:spMkLst>
            <pc:docMk/>
            <pc:sldMk cId="1430462515" sldId="266"/>
            <ac:spMk id="8" creationId="{E634C97A-B6E0-9A9D-DEEF-E74604535954}"/>
          </ac:spMkLst>
        </pc:spChg>
      </pc:sldChg>
      <pc:sldMasterChg chg="addSp delSp modSp mod modSldLayout">
        <pc:chgData name="Hammad, Leila" userId="e0060735-4e0b-46c7-a6c3-c0cf6b3fb745" providerId="ADAL" clId="{C372EB4E-FF57-4A4B-A48B-AD1FB33BD8C6}" dt="2024-01-16T13:18:22.731" v="249" actId="6549"/>
        <pc:sldMasterMkLst>
          <pc:docMk/>
          <pc:sldMasterMk cId="1386213227" sldId="2147483720"/>
        </pc:sldMasterMkLst>
        <pc:spChg chg="add mod">
          <ac:chgData name="Hammad, Leila" userId="e0060735-4e0b-46c7-a6c3-c0cf6b3fb745" providerId="ADAL" clId="{C372EB4E-FF57-4A4B-A48B-AD1FB33BD8C6}" dt="2024-01-16T13:14:23.900" v="110" actId="21"/>
          <ac:spMkLst>
            <pc:docMk/>
            <pc:sldMasterMk cId="1386213227" sldId="2147483720"/>
            <ac:spMk id="2" creationId="{DEBDD388-C595-E6A1-03B0-925AA8462F03}"/>
          </ac:spMkLst>
        </pc:spChg>
        <pc:spChg chg="add del mod">
          <ac:chgData name="Hammad, Leila" userId="e0060735-4e0b-46c7-a6c3-c0cf6b3fb745" providerId="ADAL" clId="{C372EB4E-FF57-4A4B-A48B-AD1FB33BD8C6}" dt="2024-01-16T13:09:27.897" v="22"/>
          <ac:spMkLst>
            <pc:docMk/>
            <pc:sldMasterMk cId="1386213227" sldId="2147483720"/>
            <ac:spMk id="3" creationId="{3778AB4A-5E12-8654-51CD-0F5A15150B84}"/>
          </ac:spMkLst>
        </pc:spChg>
        <pc:spChg chg="add del mod">
          <ac:chgData name="Hammad, Leila" userId="e0060735-4e0b-46c7-a6c3-c0cf6b3fb745" providerId="ADAL" clId="{C372EB4E-FF57-4A4B-A48B-AD1FB33BD8C6}" dt="2024-01-16T13:12:58.858" v="86" actId="21"/>
          <ac:spMkLst>
            <pc:docMk/>
            <pc:sldMasterMk cId="1386213227" sldId="2147483720"/>
            <ac:spMk id="4" creationId="{AC50C7E6-8B51-F0D1-2028-2E731907BABA}"/>
          </ac:spMkLst>
        </pc:spChg>
        <pc:spChg chg="add mod">
          <ac:chgData name="Hammad, Leila" userId="e0060735-4e0b-46c7-a6c3-c0cf6b3fb745" providerId="ADAL" clId="{C372EB4E-FF57-4A4B-A48B-AD1FB33BD8C6}" dt="2024-01-16T13:13:34.173" v="105" actId="2711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C372EB4E-FF57-4A4B-A48B-AD1FB33BD8C6}" dt="2024-01-16T13:18:22.731" v="249" actId="6549"/>
          <ac:spMkLst>
            <pc:docMk/>
            <pc:sldMasterMk cId="1386213227" sldId="2147483720"/>
            <ac:spMk id="11" creationId="{719D3FB4-6A06-40A4-95A8-330F0EC72828}"/>
          </ac:spMkLst>
        </pc:spChg>
        <pc:sldLayoutChg chg="addSp delSp modSp mod">
          <pc:chgData name="Hammad, Leila" userId="e0060735-4e0b-46c7-a6c3-c0cf6b3fb745" providerId="ADAL" clId="{C372EB4E-FF57-4A4B-A48B-AD1FB33BD8C6}" dt="2024-01-16T13:14:48.148" v="111" actId="6549"/>
          <pc:sldLayoutMkLst>
            <pc:docMk/>
            <pc:sldMasterMk cId="1386213227" sldId="2147483720"/>
            <pc:sldLayoutMk cId="2310647922" sldId="2147483722"/>
          </pc:sldLayoutMkLst>
          <pc:spChg chg="add mod">
            <ac:chgData name="Hammad, Leila" userId="e0060735-4e0b-46c7-a6c3-c0cf6b3fb745" providerId="ADAL" clId="{C372EB4E-FF57-4A4B-A48B-AD1FB33BD8C6}" dt="2024-01-16T13:14:48.148" v="111" actId="6549"/>
            <ac:spMkLst>
              <pc:docMk/>
              <pc:sldMasterMk cId="1386213227" sldId="2147483720"/>
              <pc:sldLayoutMk cId="2310647922" sldId="2147483722"/>
              <ac:spMk id="2" creationId="{A09041DB-7D6A-92B6-34A6-74A7243EACDC}"/>
            </ac:spMkLst>
          </pc:spChg>
          <pc:spChg chg="add del">
            <ac:chgData name="Hammad, Leila" userId="e0060735-4e0b-46c7-a6c3-c0cf6b3fb745" providerId="ADAL" clId="{C372EB4E-FF57-4A4B-A48B-AD1FB33BD8C6}" dt="2024-01-16T13:11:56.980" v="82" actId="22"/>
            <ac:spMkLst>
              <pc:docMk/>
              <pc:sldMasterMk cId="1386213227" sldId="2147483720"/>
              <pc:sldLayoutMk cId="2310647922" sldId="2147483722"/>
              <ac:spMk id="4" creationId="{96DE70F5-15CE-34C2-7458-DD6798897BFD}"/>
            </ac:spMkLst>
          </pc:spChg>
        </pc:sldLayoutChg>
      </pc:sldMasterChg>
    </pc:docChg>
  </pc:docChgLst>
  <pc:docChgLst>
    <pc:chgData name="Hammad, Leila" userId="e0060735-4e0b-46c7-a6c3-c0cf6b3fb745" providerId="ADAL" clId="{674BD179-9FD2-4153-921D-364DF4E9FA17}"/>
    <pc:docChg chg="undo custSel modSld modMainMaster">
      <pc:chgData name="Hammad, Leila" userId="e0060735-4e0b-46c7-a6c3-c0cf6b3fb745" providerId="ADAL" clId="{674BD179-9FD2-4153-921D-364DF4E9FA17}" dt="2025-02-13T12:39:27.683" v="852" actId="13926"/>
      <pc:docMkLst>
        <pc:docMk/>
      </pc:docMkLst>
      <pc:sldChg chg="addSp delSp modSp mod">
        <pc:chgData name="Hammad, Leila" userId="e0060735-4e0b-46c7-a6c3-c0cf6b3fb745" providerId="ADAL" clId="{674BD179-9FD2-4153-921D-364DF4E9FA17}" dt="2025-02-13T12:39:27.683" v="852" actId="13926"/>
        <pc:sldMkLst>
          <pc:docMk/>
          <pc:sldMk cId="1430462515" sldId="266"/>
        </pc:sldMkLst>
        <pc:spChg chg="add mod">
          <ac:chgData name="Hammad, Leila" userId="e0060735-4e0b-46c7-a6c3-c0cf6b3fb745" providerId="ADAL" clId="{674BD179-9FD2-4153-921D-364DF4E9FA17}" dt="2025-02-13T12:38:10.680" v="791" actId="13926"/>
          <ac:spMkLst>
            <pc:docMk/>
            <pc:sldMk cId="1430462515" sldId="266"/>
            <ac:spMk id="3" creationId="{CF91FC29-44AA-D25D-9A7C-BD5980B0729C}"/>
          </ac:spMkLst>
        </pc:spChg>
        <pc:spChg chg="mod">
          <ac:chgData name="Hammad, Leila" userId="e0060735-4e0b-46c7-a6c3-c0cf6b3fb745" providerId="ADAL" clId="{674BD179-9FD2-4153-921D-364DF4E9FA17}" dt="2025-02-13T12:04:41.593" v="456" actId="14100"/>
          <ac:spMkLst>
            <pc:docMk/>
            <pc:sldMk cId="1430462515" sldId="266"/>
            <ac:spMk id="5" creationId="{9E30A2DA-169F-402D-BAD7-2729E2BFA514}"/>
          </ac:spMkLst>
        </pc:spChg>
        <pc:spChg chg="mod">
          <ac:chgData name="Hammad, Leila" userId="e0060735-4e0b-46c7-a6c3-c0cf6b3fb745" providerId="ADAL" clId="{674BD179-9FD2-4153-921D-364DF4E9FA17}" dt="2025-02-13T12:09:00.143" v="469" actId="1076"/>
          <ac:spMkLst>
            <pc:docMk/>
            <pc:sldMk cId="1430462515" sldId="266"/>
            <ac:spMk id="7" creationId="{00000000-0000-0000-0000-000000000000}"/>
          </ac:spMkLst>
        </pc:spChg>
        <pc:spChg chg="mod">
          <ac:chgData name="Hammad, Leila" userId="e0060735-4e0b-46c7-a6c3-c0cf6b3fb745" providerId="ADAL" clId="{674BD179-9FD2-4153-921D-364DF4E9FA17}" dt="2025-02-13T12:39:27.683" v="852" actId="13926"/>
          <ac:spMkLst>
            <pc:docMk/>
            <pc:sldMk cId="1430462515" sldId="266"/>
            <ac:spMk id="8" creationId="{E634C97A-B6E0-9A9D-DEEF-E74604535954}"/>
          </ac:spMkLst>
        </pc:spChg>
        <pc:spChg chg="mod">
          <ac:chgData name="Hammad, Leila" userId="e0060735-4e0b-46c7-a6c3-c0cf6b3fb745" providerId="ADAL" clId="{674BD179-9FD2-4153-921D-364DF4E9FA17}" dt="2025-02-13T12:38:14.817" v="792" actId="13926"/>
          <ac:spMkLst>
            <pc:docMk/>
            <pc:sldMk cId="1430462515" sldId="266"/>
            <ac:spMk id="9" creationId="{BEB0296B-FAA0-1A22-9F29-B57D18F67AF9}"/>
          </ac:spMkLst>
        </pc:spChg>
        <pc:spChg chg="add del mod">
          <ac:chgData name="Hammad, Leila" userId="e0060735-4e0b-46c7-a6c3-c0cf6b3fb745" providerId="ADAL" clId="{674BD179-9FD2-4153-921D-364DF4E9FA17}" dt="2025-02-13T12:25:17.702" v="787" actId="478"/>
          <ac:spMkLst>
            <pc:docMk/>
            <pc:sldMk cId="1430462515" sldId="266"/>
            <ac:spMk id="12" creationId="{AB5C2AA3-93BD-F4A8-E0C0-8486269B4E84}"/>
          </ac:spMkLst>
        </pc:spChg>
        <pc:graphicFrameChg chg="add mod ord modVis">
          <ac:chgData name="Hammad, Leila" userId="e0060735-4e0b-46c7-a6c3-c0cf6b3fb745" providerId="ADAL" clId="{674BD179-9FD2-4153-921D-364DF4E9FA17}" dt="2025-02-13T11:41:39.761" v="37"/>
          <ac:graphicFrameMkLst>
            <pc:docMk/>
            <pc:sldMk cId="1430462515" sldId="266"/>
            <ac:graphicFrameMk id="2" creationId="{EB596D63-F5F5-FB1C-0367-1B89732FB1C6}"/>
          </ac:graphicFrameMkLst>
        </pc:graphicFrameChg>
        <pc:cxnChg chg="add del mod">
          <ac:chgData name="Hammad, Leila" userId="e0060735-4e0b-46c7-a6c3-c0cf6b3fb745" providerId="ADAL" clId="{674BD179-9FD2-4153-921D-364DF4E9FA17}" dt="2025-02-13T12:11:01.461" v="567" actId="478"/>
          <ac:cxnSpMkLst>
            <pc:docMk/>
            <pc:sldMk cId="1430462515" sldId="266"/>
            <ac:cxnSpMk id="10" creationId="{265B05D2-73AC-8495-5D11-FECF3F93821D}"/>
          </ac:cxnSpMkLst>
        </pc:cxnChg>
      </pc:sldChg>
      <pc:sldMasterChg chg="addSp delSp modSp mod modSldLayout">
        <pc:chgData name="Hammad, Leila" userId="e0060735-4e0b-46c7-a6c3-c0cf6b3fb745" providerId="ADAL" clId="{674BD179-9FD2-4153-921D-364DF4E9FA17}" dt="2025-02-13T12:09:21.311" v="470" actId="478"/>
        <pc:sldMasterMkLst>
          <pc:docMk/>
          <pc:sldMasterMk cId="1031931927" sldId="2147483723"/>
        </pc:sldMasterMkLst>
        <pc:spChg chg="mod">
          <ac:chgData name="Hammad, Leila" userId="e0060735-4e0b-46c7-a6c3-c0cf6b3fb745" providerId="ADAL" clId="{674BD179-9FD2-4153-921D-364DF4E9FA17}" dt="2025-02-13T11:57:54.518" v="110" actId="20577"/>
          <ac:spMkLst>
            <pc:docMk/>
            <pc:sldMasterMk cId="1031931927" sldId="2147483723"/>
            <ac:spMk id="2" creationId="{00000000-0000-0000-0000-000000000000}"/>
          </ac:spMkLst>
        </pc:spChg>
        <pc:spChg chg="del">
          <ac:chgData name="Hammad, Leila" userId="e0060735-4e0b-46c7-a6c3-c0cf6b3fb745" providerId="ADAL" clId="{674BD179-9FD2-4153-921D-364DF4E9FA17}" dt="2025-02-13T11:42:29.325" v="88" actId="478"/>
          <ac:spMkLst>
            <pc:docMk/>
            <pc:sldMasterMk cId="1031931927" sldId="2147483723"/>
            <ac:spMk id="3" creationId="{00000000-0000-0000-0000-000000000000}"/>
          </ac:spMkLst>
        </pc:spChg>
        <pc:spChg chg="del">
          <ac:chgData name="Hammad, Leila" userId="e0060735-4e0b-46c7-a6c3-c0cf6b3fb745" providerId="ADAL" clId="{674BD179-9FD2-4153-921D-364DF4E9FA17}" dt="2025-02-13T11:42:31.016" v="89" actId="478"/>
          <ac:spMkLst>
            <pc:docMk/>
            <pc:sldMasterMk cId="1031931927" sldId="2147483723"/>
            <ac:spMk id="4" creationId="{00000000-0000-0000-0000-000000000000}"/>
          </ac:spMkLst>
        </pc:spChg>
        <pc:spChg chg="del">
          <ac:chgData name="Hammad, Leila" userId="e0060735-4e0b-46c7-a6c3-c0cf6b3fb745" providerId="ADAL" clId="{674BD179-9FD2-4153-921D-364DF4E9FA17}" dt="2025-02-13T11:42:31.927" v="90" actId="478"/>
          <ac:spMkLst>
            <pc:docMk/>
            <pc:sldMasterMk cId="1031931927" sldId="2147483723"/>
            <ac:spMk id="5" creationId="{00000000-0000-0000-0000-000000000000}"/>
          </ac:spMkLst>
        </pc:spChg>
        <pc:spChg chg="del">
          <ac:chgData name="Hammad, Leila" userId="e0060735-4e0b-46c7-a6c3-c0cf6b3fb745" providerId="ADAL" clId="{674BD179-9FD2-4153-921D-364DF4E9FA17}" dt="2025-02-13T11:42:32.927" v="91" actId="478"/>
          <ac:spMkLst>
            <pc:docMk/>
            <pc:sldMasterMk cId="1031931927" sldId="2147483723"/>
            <ac:spMk id="6" creationId="{00000000-0000-0000-0000-000000000000}"/>
          </ac:spMkLst>
        </pc:spChg>
        <pc:spChg chg="mod">
          <ac:chgData name="Hammad, Leila" userId="e0060735-4e0b-46c7-a6c3-c0cf6b3fb745" providerId="ADAL" clId="{674BD179-9FD2-4153-921D-364DF4E9FA17}" dt="2025-02-13T12:04:01.242" v="309" actId="1036"/>
          <ac:spMkLst>
            <pc:docMk/>
            <pc:sldMasterMk cId="1031931927" sldId="2147483723"/>
            <ac:spMk id="11" creationId="{8CE9D7A5-59D1-541E-B04B-28F37536EDF1}"/>
          </ac:spMkLst>
        </pc:spChg>
        <pc:spChg chg="mod">
          <ac:chgData name="Hammad, Leila" userId="e0060735-4e0b-46c7-a6c3-c0cf6b3fb745" providerId="ADAL" clId="{674BD179-9FD2-4153-921D-364DF4E9FA17}" dt="2025-02-13T12:04:11.120" v="365" actId="1036"/>
          <ac:spMkLst>
            <pc:docMk/>
            <pc:sldMasterMk cId="1031931927" sldId="2147483723"/>
            <ac:spMk id="12" creationId="{6A3440D5-3313-B8C2-246B-765F61EF56A0}"/>
          </ac:spMkLst>
        </pc:spChg>
        <pc:spChg chg="mod">
          <ac:chgData name="Hammad, Leila" userId="e0060735-4e0b-46c7-a6c3-c0cf6b3fb745" providerId="ADAL" clId="{674BD179-9FD2-4153-921D-364DF4E9FA17}" dt="2025-02-13T12:04:19.966" v="417" actId="1036"/>
          <ac:spMkLst>
            <pc:docMk/>
            <pc:sldMasterMk cId="1031931927" sldId="2147483723"/>
            <ac:spMk id="15" creationId="{6EB086BD-15E8-52ED-9C72-9B2032C208F3}"/>
          </ac:spMkLst>
        </pc:spChg>
        <pc:spChg chg="add del mod modVis">
          <ac:chgData name="Hammad, Leila" userId="e0060735-4e0b-46c7-a6c3-c0cf6b3fb745" providerId="ADAL" clId="{674BD179-9FD2-4153-921D-364DF4E9FA17}" dt="2025-02-13T11:41:39.729" v="21"/>
          <ac:spMkLst>
            <pc:docMk/>
            <pc:sldMasterMk cId="1031931927" sldId="2147483723"/>
            <ac:spMk id="16" creationId="{98041C40-230E-D1D1-07A5-BEEEF59E03DB}"/>
          </ac:spMkLst>
        </pc:spChg>
        <pc:spChg chg="add del mod modVis">
          <ac:chgData name="Hammad, Leila" userId="e0060735-4e0b-46c7-a6c3-c0cf6b3fb745" providerId="ADAL" clId="{674BD179-9FD2-4153-921D-364DF4E9FA17}" dt="2025-02-13T11:41:52.364" v="60"/>
          <ac:spMkLst>
            <pc:docMk/>
            <pc:sldMasterMk cId="1031931927" sldId="2147483723"/>
            <ac:spMk id="17" creationId="{F53BAC15-C971-9876-7B5D-FE169E15AE7B}"/>
          </ac:spMkLst>
        </pc:spChg>
        <pc:spChg chg="add del mod modVis">
          <ac:chgData name="Hammad, Leila" userId="e0060735-4e0b-46c7-a6c3-c0cf6b3fb745" providerId="ADAL" clId="{674BD179-9FD2-4153-921D-364DF4E9FA17}" dt="2025-02-13T11:41:55.940" v="85"/>
          <ac:spMkLst>
            <pc:docMk/>
            <pc:sldMasterMk cId="1031931927" sldId="2147483723"/>
            <ac:spMk id="18" creationId="{BC69E41A-B7B8-A352-FF12-5307B0CB711A}"/>
          </ac:spMkLst>
        </pc:spChg>
        <pc:graphicFrameChg chg="mod">
          <ac:chgData name="Hammad, Leila" userId="e0060735-4e0b-46c7-a6c3-c0cf6b3fb745" providerId="ADAL" clId="{674BD179-9FD2-4153-921D-364DF4E9FA17}" dt="2025-02-13T11:57:55.032" v="112"/>
          <ac:graphicFrameMkLst>
            <pc:docMk/>
            <pc:sldMasterMk cId="1031931927" sldId="2147483723"/>
            <ac:graphicFrameMk id="7" creationId="{DE2F3FB9-F768-B9BD-71B9-D3C9EEF14960}"/>
          </ac:graphicFrameMkLst>
        </pc:graphicFrameChg>
        <pc:picChg chg="mod">
          <ac:chgData name="Hammad, Leila" userId="e0060735-4e0b-46c7-a6c3-c0cf6b3fb745" providerId="ADAL" clId="{674BD179-9FD2-4153-921D-364DF4E9FA17}" dt="2025-02-13T12:04:11.120" v="365" actId="1036"/>
          <ac:picMkLst>
            <pc:docMk/>
            <pc:sldMasterMk cId="1031931927" sldId="2147483723"/>
            <ac:picMk id="8" creationId="{F8A15CF6-A618-725E-576B-E12FF72AA285}"/>
          </ac:picMkLst>
        </pc:picChg>
        <pc:picChg chg="mod">
          <ac:chgData name="Hammad, Leila" userId="e0060735-4e0b-46c7-a6c3-c0cf6b3fb745" providerId="ADAL" clId="{674BD179-9FD2-4153-921D-364DF4E9FA17}" dt="2025-02-13T12:04:01.242" v="309" actId="1036"/>
          <ac:picMkLst>
            <pc:docMk/>
            <pc:sldMasterMk cId="1031931927" sldId="2147483723"/>
            <ac:picMk id="13" creationId="{80514A74-3D49-FE60-A5DE-9314AB70362B}"/>
          </ac:picMkLst>
        </pc:picChg>
        <pc:sldLayoutChg chg="delSp mod">
          <pc:chgData name="Hammad, Leila" userId="e0060735-4e0b-46c7-a6c3-c0cf6b3fb745" providerId="ADAL" clId="{674BD179-9FD2-4153-921D-364DF4E9FA17}" dt="2025-02-13T12:09:21.311" v="470" actId="478"/>
          <pc:sldLayoutMkLst>
            <pc:docMk/>
            <pc:sldMasterMk cId="1031931927" sldId="2147483723"/>
            <pc:sldLayoutMk cId="4253594767" sldId="2147483735"/>
          </pc:sldLayoutMkLst>
          <pc:spChg chg="del">
            <ac:chgData name="Hammad, Leila" userId="e0060735-4e0b-46c7-a6c3-c0cf6b3fb745" providerId="ADAL" clId="{674BD179-9FD2-4153-921D-364DF4E9FA17}" dt="2025-02-13T12:09:21.311" v="470" actId="478"/>
            <ac:spMkLst>
              <pc:docMk/>
              <pc:sldMasterMk cId="1031931927" sldId="2147483723"/>
              <pc:sldLayoutMk cId="4253594767" sldId="2147483735"/>
              <ac:spMk id="2" creationId="{A09041DB-7D6A-92B6-34A6-74A7243EACDC}"/>
            </ac:spMkLst>
          </pc:spChg>
        </pc:sldLayoutChg>
      </pc:sldMasterChg>
    </pc:docChg>
  </pc:docChgLst>
  <pc:docChgLst>
    <pc:chgData name="Hammad, Leila" userId="e0060735-4e0b-46c7-a6c3-c0cf6b3fb745" providerId="ADAL" clId="{7A68FB1D-A78C-4BB6-81B3-936FCA8146EA}"/>
    <pc:docChg chg="undo custSel modSld modMainMaster">
      <pc:chgData name="Hammad, Leila" userId="e0060735-4e0b-46c7-a6c3-c0cf6b3fb745" providerId="ADAL" clId="{7A68FB1D-A78C-4BB6-81B3-936FCA8146EA}" dt="2024-03-06T08:46:43.250" v="62" actId="478"/>
      <pc:docMkLst>
        <pc:docMk/>
      </pc:docMkLst>
      <pc:sldChg chg="addSp delSp modSp mod">
        <pc:chgData name="Hammad, Leila" userId="e0060735-4e0b-46c7-a6c3-c0cf6b3fb745" providerId="ADAL" clId="{7A68FB1D-A78C-4BB6-81B3-936FCA8146EA}" dt="2024-03-06T08:46:20.029" v="60" actId="478"/>
        <pc:sldMkLst>
          <pc:docMk/>
          <pc:sldMk cId="1430462515" sldId="266"/>
        </pc:sldMkLst>
        <pc:spChg chg="del">
          <ac:chgData name="Hammad, Leila" userId="e0060735-4e0b-46c7-a6c3-c0cf6b3fb745" providerId="ADAL" clId="{7A68FB1D-A78C-4BB6-81B3-936FCA8146EA}" dt="2024-03-06T08:46:17.362" v="58" actId="478"/>
          <ac:spMkLst>
            <pc:docMk/>
            <pc:sldMk cId="1430462515" sldId="266"/>
            <ac:spMk id="2" creationId="{BC400C14-ACDE-33D2-711C-1307DD851FF7}"/>
          </ac:spMkLst>
        </pc:spChg>
        <pc:spChg chg="add del">
          <ac:chgData name="Hammad, Leila" userId="e0060735-4e0b-46c7-a6c3-c0cf6b3fb745" providerId="ADAL" clId="{7A68FB1D-A78C-4BB6-81B3-936FCA8146EA}" dt="2024-03-06T08:46:20.029" v="60" actId="478"/>
          <ac:spMkLst>
            <pc:docMk/>
            <pc:sldMk cId="1430462515" sldId="266"/>
            <ac:spMk id="5" creationId="{9E30A2DA-169F-402D-BAD7-2729E2BFA514}"/>
          </ac:spMkLst>
        </pc:spChg>
        <pc:spChg chg="mod">
          <ac:chgData name="Hammad, Leila" userId="e0060735-4e0b-46c7-a6c3-c0cf6b3fb745" providerId="ADAL" clId="{7A68FB1D-A78C-4BB6-81B3-936FCA8146EA}" dt="2024-03-06T08:43:52.909" v="57" actId="20577"/>
          <ac:spMkLst>
            <pc:docMk/>
            <pc:sldMk cId="1430462515" sldId="266"/>
            <ac:spMk id="7" creationId="{00000000-0000-0000-0000-000000000000}"/>
          </ac:spMkLst>
        </pc:spChg>
      </pc:sldChg>
      <pc:sldMasterChg chg="addSp delSp modSp mod modSldLayout">
        <pc:chgData name="Hammad, Leila" userId="e0060735-4e0b-46c7-a6c3-c0cf6b3fb745" providerId="ADAL" clId="{7A68FB1D-A78C-4BB6-81B3-936FCA8146EA}" dt="2024-03-06T08:46:43.250" v="62" actId="478"/>
        <pc:sldMasterMkLst>
          <pc:docMk/>
          <pc:sldMasterMk cId="1386213227" sldId="2147483720"/>
        </pc:sldMasterMkLst>
        <pc:spChg chg="del">
          <ac:chgData name="Hammad, Leila" userId="e0060735-4e0b-46c7-a6c3-c0cf6b3fb745" providerId="ADAL" clId="{7A68FB1D-A78C-4BB6-81B3-936FCA8146EA}" dt="2024-03-06T08:46:43.250" v="62" actId="478"/>
          <ac:spMkLst>
            <pc:docMk/>
            <pc:sldMasterMk cId="1386213227" sldId="2147483720"/>
            <ac:spMk id="4" creationId="{AC50C7E6-8B51-F0D1-2028-2E731907BABA}"/>
          </ac:spMkLst>
        </pc:spChg>
        <pc:spChg chg="del">
          <ac:chgData name="Hammad, Leila" userId="e0060735-4e0b-46c7-a6c3-c0cf6b3fb745" providerId="ADAL" clId="{7A68FB1D-A78C-4BB6-81B3-936FCA8146EA}" dt="2024-03-06T08:46:41.772" v="61" actId="478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7A68FB1D-A78C-4BB6-81B3-936FCA8146EA}" dt="2024-02-27T13:25:18.489" v="4" actId="108"/>
          <ac:spMkLst>
            <pc:docMk/>
            <pc:sldMasterMk cId="1386213227" sldId="2147483720"/>
            <ac:spMk id="11" creationId="{719D3FB4-6A06-40A4-95A8-330F0EC72828}"/>
          </ac:spMkLst>
        </pc:spChg>
        <pc:spChg chg="add mod">
          <ac:chgData name="Hammad, Leila" userId="e0060735-4e0b-46c7-a6c3-c0cf6b3fb745" providerId="ADAL" clId="{7A68FB1D-A78C-4BB6-81B3-936FCA8146EA}" dt="2024-03-06T08:43:05.288" v="54"/>
          <ac:spMkLst>
            <pc:docMk/>
            <pc:sldMasterMk cId="1386213227" sldId="2147483720"/>
            <ac:spMk id="14" creationId="{E465FAAF-EA98-9715-F685-7E9B33C40FD2}"/>
          </ac:spMkLst>
        </pc:spChg>
        <pc:picChg chg="add del mod modCrop">
          <ac:chgData name="Hammad, Leila" userId="e0060735-4e0b-46c7-a6c3-c0cf6b3fb745" providerId="ADAL" clId="{7A68FB1D-A78C-4BB6-81B3-936FCA8146EA}" dt="2024-03-06T08:41:30.706" v="7" actId="478"/>
          <ac:picMkLst>
            <pc:docMk/>
            <pc:sldMasterMk cId="1386213227" sldId="2147483720"/>
            <ac:picMk id="6" creationId="{252A1DAA-8A22-6F6D-A47E-91404CBD2C1F}"/>
          </ac:picMkLst>
        </pc:picChg>
        <pc:picChg chg="add mod">
          <ac:chgData name="Hammad, Leila" userId="e0060735-4e0b-46c7-a6c3-c0cf6b3fb745" providerId="ADAL" clId="{7A68FB1D-A78C-4BB6-81B3-936FCA8146EA}" dt="2024-03-06T08:42:00.833" v="16" actId="1076"/>
          <ac:picMkLst>
            <pc:docMk/>
            <pc:sldMasterMk cId="1386213227" sldId="2147483720"/>
            <ac:picMk id="13" creationId="{8DD75B81-0F99-D11D-AD67-14861593A93E}"/>
          </ac:picMkLst>
        </pc:picChg>
        <pc:sldLayoutChg chg="addSp delSp modSp mod">
          <pc:chgData name="Hammad, Leila" userId="e0060735-4e0b-46c7-a6c3-c0cf6b3fb745" providerId="ADAL" clId="{7A68FB1D-A78C-4BB6-81B3-936FCA8146EA}" dt="2024-03-06T08:42:57.896" v="53" actId="21"/>
          <pc:sldLayoutMkLst>
            <pc:docMk/>
            <pc:sldMasterMk cId="1386213227" sldId="2147483720"/>
            <pc:sldLayoutMk cId="2310647922" sldId="2147483722"/>
          </pc:sldLayoutMkLst>
          <pc:spChg chg="add del mod">
            <ac:chgData name="Hammad, Leila" userId="e0060735-4e0b-46c7-a6c3-c0cf6b3fb745" providerId="ADAL" clId="{7A68FB1D-A78C-4BB6-81B3-936FCA8146EA}" dt="2024-03-06T08:42:57.896" v="53" actId="21"/>
            <ac:spMkLst>
              <pc:docMk/>
              <pc:sldMasterMk cId="1386213227" sldId="2147483720"/>
              <pc:sldLayoutMk cId="2310647922" sldId="2147483722"/>
              <ac:spMk id="3" creationId="{E00F6C8C-CF90-431C-5C7A-6AC68176E7A7}"/>
            </ac:spMkLst>
          </pc:spChg>
        </pc:sldLayoutChg>
      </pc:sldMasterChg>
    </pc:docChg>
  </pc:docChgLst>
  <pc:docChgLst>
    <pc:chgData name="Hammad, Leila" userId="e0060735-4e0b-46c7-a6c3-c0cf6b3fb745" providerId="ADAL" clId="{669805B1-7330-4B57-8641-7DFF7DDA266C}"/>
    <pc:docChg chg="custSel modSld">
      <pc:chgData name="Hammad, Leila" userId="e0060735-4e0b-46c7-a6c3-c0cf6b3fb745" providerId="ADAL" clId="{669805B1-7330-4B57-8641-7DFF7DDA266C}" dt="2022-06-17T06:42:51.824" v="18" actId="20577"/>
      <pc:docMkLst>
        <pc:docMk/>
      </pc:docMkLst>
      <pc:sldChg chg="modSp mod">
        <pc:chgData name="Hammad, Leila" userId="e0060735-4e0b-46c7-a6c3-c0cf6b3fb745" providerId="ADAL" clId="{669805B1-7330-4B57-8641-7DFF7DDA266C}" dt="2022-06-17T06:42:51.824" v="18" actId="20577"/>
        <pc:sldMkLst>
          <pc:docMk/>
          <pc:sldMk cId="1430462515" sldId="266"/>
        </pc:sldMkLst>
        <pc:spChg chg="mod">
          <ac:chgData name="Hammad, Leila" userId="e0060735-4e0b-46c7-a6c3-c0cf6b3fb745" providerId="ADAL" clId="{669805B1-7330-4B57-8641-7DFF7DDA266C}" dt="2022-06-17T06:42:51.824" v="18" actId="20577"/>
          <ac:spMkLst>
            <pc:docMk/>
            <pc:sldMk cId="1430462515" sldId="266"/>
            <ac:spMk id="6" creationId="{490ACC0D-4708-49F8-89F6-0D0135133B48}"/>
          </ac:spMkLst>
        </pc:spChg>
      </pc:sldChg>
    </pc:docChg>
  </pc:docChgLst>
  <pc:docChgLst>
    <pc:chgData name="Hammad, Leila" userId="e0060735-4e0b-46c7-a6c3-c0cf6b3fb745" providerId="ADAL" clId="{BC8A519D-51CD-4485-89D6-91F02BCB3A75}"/>
    <pc:docChg chg="undo custSel modSld modMainMaster">
      <pc:chgData name="Hammad, Leila" userId="e0060735-4e0b-46c7-a6c3-c0cf6b3fb745" providerId="ADAL" clId="{BC8A519D-51CD-4485-89D6-91F02BCB3A75}" dt="2024-04-08T13:12:31.520" v="140" actId="2711"/>
      <pc:docMkLst>
        <pc:docMk/>
      </pc:docMkLst>
      <pc:sldChg chg="addSp delSp modSp mod">
        <pc:chgData name="Hammad, Leila" userId="e0060735-4e0b-46c7-a6c3-c0cf6b3fb745" providerId="ADAL" clId="{BC8A519D-51CD-4485-89D6-91F02BCB3A75}" dt="2024-04-08T13:12:31.520" v="140" actId="2711"/>
        <pc:sldMkLst>
          <pc:docMk/>
          <pc:sldMk cId="1430462515" sldId="266"/>
        </pc:sldMkLst>
        <pc:spChg chg="add del mod">
          <ac:chgData name="Hammad, Leila" userId="e0060735-4e0b-46c7-a6c3-c0cf6b3fb745" providerId="ADAL" clId="{BC8A519D-51CD-4485-89D6-91F02BCB3A75}" dt="2024-04-08T13:09:58.696" v="120" actId="21"/>
          <ac:spMkLst>
            <pc:docMk/>
            <pc:sldMk cId="1430462515" sldId="266"/>
            <ac:spMk id="2" creationId="{82F2A95C-2A4A-0F1F-4A2D-B0C4672795F2}"/>
          </ac:spMkLst>
        </pc:spChg>
        <pc:spChg chg="add del">
          <ac:chgData name="Hammad, Leila" userId="e0060735-4e0b-46c7-a6c3-c0cf6b3fb745" providerId="ADAL" clId="{BC8A519D-51CD-4485-89D6-91F02BCB3A75}" dt="2024-04-08T13:10:43.461" v="136" actId="22"/>
          <ac:spMkLst>
            <pc:docMk/>
            <pc:sldMk cId="1430462515" sldId="266"/>
            <ac:spMk id="6" creationId="{FABF7A0C-2C4F-517A-2D71-96E09A8AC843}"/>
          </ac:spMkLst>
        </pc:spChg>
        <pc:spChg chg="add mod">
          <ac:chgData name="Hammad, Leila" userId="e0060735-4e0b-46c7-a6c3-c0cf6b3fb745" providerId="ADAL" clId="{BC8A519D-51CD-4485-89D6-91F02BCB3A75}" dt="2024-04-08T13:12:31.520" v="140" actId="2711"/>
          <ac:spMkLst>
            <pc:docMk/>
            <pc:sldMk cId="1430462515" sldId="266"/>
            <ac:spMk id="9" creationId="{BEB0296B-FAA0-1A22-9F29-B57D18F67AF9}"/>
          </ac:spMkLst>
        </pc:spChg>
      </pc:sldChg>
      <pc:sldMasterChg chg="addSp modSp mod modSldLayout">
        <pc:chgData name="Hammad, Leila" userId="e0060735-4e0b-46c7-a6c3-c0cf6b3fb745" providerId="ADAL" clId="{BC8A519D-51CD-4485-89D6-91F02BCB3A75}" dt="2024-04-08T13:10:37.208" v="134" actId="1035"/>
        <pc:sldMasterMkLst>
          <pc:docMk/>
          <pc:sldMasterMk cId="1386213227" sldId="2147483720"/>
        </pc:sldMasterMkLst>
        <pc:spChg chg="add mod">
          <ac:chgData name="Hammad, Leila" userId="e0060735-4e0b-46c7-a6c3-c0cf6b3fb745" providerId="ADAL" clId="{BC8A519D-51CD-4485-89D6-91F02BCB3A75}" dt="2024-04-08T13:10:37.208" v="134" actId="1035"/>
          <ac:spMkLst>
            <pc:docMk/>
            <pc:sldMasterMk cId="1386213227" sldId="2147483720"/>
            <ac:spMk id="3" creationId="{BD59D919-5AAD-F0DC-B1CC-8CC8FED0B3A3}"/>
          </ac:spMkLst>
        </pc:spChg>
        <pc:sldLayoutChg chg="addSp delSp modSp mod">
          <pc:chgData name="Hammad, Leila" userId="e0060735-4e0b-46c7-a6c3-c0cf6b3fb745" providerId="ADAL" clId="{BC8A519D-51CD-4485-89D6-91F02BCB3A75}" dt="2024-04-08T13:08:36.864" v="64"/>
          <pc:sldLayoutMkLst>
            <pc:docMk/>
            <pc:sldMasterMk cId="1386213227" sldId="2147483720"/>
            <pc:sldLayoutMk cId="2310647922" sldId="2147483722"/>
          </pc:sldLayoutMkLst>
          <pc:spChg chg="add del mod">
            <ac:chgData name="Hammad, Leila" userId="e0060735-4e0b-46c7-a6c3-c0cf6b3fb745" providerId="ADAL" clId="{BC8A519D-51CD-4485-89D6-91F02BCB3A75}" dt="2024-04-08T13:07:54.535" v="24"/>
            <ac:spMkLst>
              <pc:docMk/>
              <pc:sldMasterMk cId="1386213227" sldId="2147483720"/>
              <pc:sldLayoutMk cId="2310647922" sldId="2147483722"/>
              <ac:spMk id="3" creationId="{E87DBBE8-17F7-462E-DAB3-E0230FCDAE0C}"/>
            </ac:spMkLst>
          </pc:spChg>
          <pc:spChg chg="add del mod">
            <ac:chgData name="Hammad, Leila" userId="e0060735-4e0b-46c7-a6c3-c0cf6b3fb745" providerId="ADAL" clId="{BC8A519D-51CD-4485-89D6-91F02BCB3A75}" dt="2024-04-08T13:08:36.864" v="64"/>
            <ac:spMkLst>
              <pc:docMk/>
              <pc:sldMasterMk cId="1386213227" sldId="2147483720"/>
              <pc:sldLayoutMk cId="2310647922" sldId="2147483722"/>
              <ac:spMk id="4" creationId="{FF9FC9C5-71E9-6554-D77A-597AEB555A14}"/>
            </ac:spMkLst>
          </pc:spChg>
        </pc:sldLayoutChg>
      </pc:sldMasterChg>
    </pc:docChg>
  </pc:docChgLst>
  <pc:docChgLst>
    <pc:chgData name="Hammad, Leila" userId="e0060735-4e0b-46c7-a6c3-c0cf6b3fb745" providerId="ADAL" clId="{70FA9B8A-50B7-40BA-9ACD-4DA951B7264F}"/>
    <pc:docChg chg="modSld modMainMaster">
      <pc:chgData name="Hammad, Leila" userId="e0060735-4e0b-46c7-a6c3-c0cf6b3fb745" providerId="ADAL" clId="{70FA9B8A-50B7-40BA-9ACD-4DA951B7264F}" dt="2024-12-02T12:19:05.150" v="41" actId="20577"/>
      <pc:docMkLst>
        <pc:docMk/>
      </pc:docMkLst>
      <pc:sldChg chg="modSp mod">
        <pc:chgData name="Hammad, Leila" userId="e0060735-4e0b-46c7-a6c3-c0cf6b3fb745" providerId="ADAL" clId="{70FA9B8A-50B7-40BA-9ACD-4DA951B7264F}" dt="2024-12-02T12:19:05.150" v="41" actId="20577"/>
        <pc:sldMkLst>
          <pc:docMk/>
          <pc:sldMk cId="1430462515" sldId="266"/>
        </pc:sldMkLst>
        <pc:spChg chg="mod">
          <ac:chgData name="Hammad, Leila" userId="e0060735-4e0b-46c7-a6c3-c0cf6b3fb745" providerId="ADAL" clId="{70FA9B8A-50B7-40BA-9ACD-4DA951B7264F}" dt="2024-12-02T12:19:05.150" v="41" actId="20577"/>
          <ac:spMkLst>
            <pc:docMk/>
            <pc:sldMk cId="1430462515" sldId="266"/>
            <ac:spMk id="8" creationId="{E634C97A-B6E0-9A9D-DEEF-E74604535954}"/>
          </ac:spMkLst>
        </pc:spChg>
      </pc:sldChg>
      <pc:sldMasterChg chg="modSp mod">
        <pc:chgData name="Hammad, Leila" userId="e0060735-4e0b-46c7-a6c3-c0cf6b3fb745" providerId="ADAL" clId="{70FA9B8A-50B7-40BA-9ACD-4DA951B7264F}" dt="2024-12-02T12:18:10.223" v="37" actId="14100"/>
        <pc:sldMasterMkLst>
          <pc:docMk/>
          <pc:sldMasterMk cId="1386213227" sldId="2147483720"/>
        </pc:sldMasterMkLst>
        <pc:spChg chg="mod">
          <ac:chgData name="Hammad, Leila" userId="e0060735-4e0b-46c7-a6c3-c0cf6b3fb745" providerId="ADAL" clId="{70FA9B8A-50B7-40BA-9ACD-4DA951B7264F}" dt="2024-12-02T11:54:07.133" v="28" actId="20577"/>
          <ac:spMkLst>
            <pc:docMk/>
            <pc:sldMasterMk cId="1386213227" sldId="2147483720"/>
            <ac:spMk id="11" creationId="{719D3FB4-6A06-40A4-95A8-330F0EC72828}"/>
          </ac:spMkLst>
        </pc:spChg>
        <pc:picChg chg="mod modCrop">
          <ac:chgData name="Hammad, Leila" userId="e0060735-4e0b-46c7-a6c3-c0cf6b3fb745" providerId="ADAL" clId="{70FA9B8A-50B7-40BA-9ACD-4DA951B7264F}" dt="2024-12-02T12:18:10.223" v="37" actId="14100"/>
          <ac:picMkLst>
            <pc:docMk/>
            <pc:sldMasterMk cId="1386213227" sldId="2147483720"/>
            <ac:picMk id="13" creationId="{8DD75B81-0F99-D11D-AD67-14861593A93E}"/>
          </ac:picMkLst>
        </pc:pic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A389DD-E8E9-4B23-804D-6ABA3D18A33B}" type="datetimeFigureOut">
              <a:rPr lang="de-DE" smtClean="0"/>
              <a:t>13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41700" y="1793875"/>
            <a:ext cx="3043238" cy="4845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188" y="6908800"/>
            <a:ext cx="7942262" cy="56530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925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A900E0-178E-499A-8C02-C2254F0E2C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5264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081421" y="44676912"/>
            <a:ext cx="6811923" cy="2566355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  <a:t>2/13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28665" y="44676912"/>
            <a:ext cx="10217884" cy="256635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1381869" y="44676912"/>
            <a:ext cx="6811923" cy="256635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59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3594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67183" y="959583"/>
            <a:ext cx="22183582" cy="40723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E2F3FB9-F768-B9BD-71B9-D3C9EEF14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89398234"/>
              </p:ext>
            </p:extLst>
          </p:nvPr>
        </p:nvGraphicFramePr>
        <p:xfrm>
          <a:off x="1590" y="1789"/>
          <a:ext cx="1587" cy="1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E2F3FB9-F768-B9BD-71B9-D3C9EEF14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789"/>
                        <a:ext cx="1587" cy="1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Fotografieren Verboten - Illustrationen und Vektorgrafiken - iStock">
            <a:extLst>
              <a:ext uri="{FF2B5EF4-FFF2-40B4-BE49-F238E27FC236}">
                <a16:creationId xmlns:a16="http://schemas.microsoft.com/office/drawing/2014/main" id="{F8A15CF6-A618-725E-576B-E12FF72AA28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0764" y="8696095"/>
            <a:ext cx="2520000" cy="2837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F2E707D-8B67-C110-173C-096CFE23AF4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9271" y="42457708"/>
            <a:ext cx="3602743" cy="446221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88EEA1C3-A8C9-B3A6-001B-5FFA4ABDFC48}"/>
              </a:ext>
            </a:extLst>
          </p:cNvPr>
          <p:cNvSpPr txBox="1"/>
          <p:nvPr userDrawn="1"/>
        </p:nvSpPr>
        <p:spPr>
          <a:xfrm>
            <a:off x="1473201" y="43125010"/>
            <a:ext cx="18332883" cy="35821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ZEISS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INNOVATION </a:t>
            </a:r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SUMMIT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2025</a:t>
            </a:r>
          </a:p>
          <a:p>
            <a:pPr>
              <a:spcAft>
                <a:spcPts val="1200"/>
              </a:spcAft>
            </a:pPr>
            <a:r>
              <a:rPr lang="en-US" sz="64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Human at the center</a:t>
            </a:r>
          </a:p>
          <a:p>
            <a:r>
              <a:rPr lang="en-US" sz="5000" b="1" dirty="0">
                <a:solidFill>
                  <a:srgbClr val="008BD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www.zeiss.com/innovation-summit</a:t>
            </a: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8CE9D7A5-59D1-541E-B04B-28F37536ED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73200" y="12236444"/>
            <a:ext cx="27368500" cy="299556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3299" tIns="393299" rIns="196649" bIns="393299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de-DE" altLang="de-DE" sz="5244" dirty="0">
              <a:solidFill>
                <a:srgbClr val="000000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A3440D5-3313-B8C2-246B-765F61EF56A0}"/>
              </a:ext>
            </a:extLst>
          </p:cNvPr>
          <p:cNvSpPr>
            <a:spLocks/>
          </p:cNvSpPr>
          <p:nvPr userDrawn="1"/>
        </p:nvSpPr>
        <p:spPr bwMode="auto">
          <a:xfrm>
            <a:off x="26681700" y="8870477"/>
            <a:ext cx="2160000" cy="243245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800"/>
              </a:spcAft>
              <a:defRPr/>
            </a:pPr>
            <a:r>
              <a:rPr lang="de-DE" altLang="de-DE" sz="3200" b="1" dirty="0" err="1"/>
              <a:t>No</a:t>
            </a:r>
            <a:r>
              <a:rPr lang="de-DE" altLang="de-DE" sz="3200" b="1" dirty="0"/>
              <a:t>.</a:t>
            </a:r>
          </a:p>
          <a:p>
            <a:pPr algn="ctr">
              <a:spcAft>
                <a:spcPts val="800"/>
              </a:spcAft>
              <a:defRPr/>
            </a:pPr>
            <a:endParaRPr lang="de-DE" altLang="de-DE" sz="2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0514A74-3D49-FE60-A5DE-9314AB70362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26" t="37373" r="25871" b="14635"/>
          <a:stretch/>
        </p:blipFill>
        <p:spPr>
          <a:xfrm>
            <a:off x="26681701" y="39779303"/>
            <a:ext cx="2120313" cy="2392207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A4175BA6-1DD0-1A8D-7149-07557885C281}"/>
              </a:ext>
            </a:extLst>
          </p:cNvPr>
          <p:cNvSpPr txBox="1"/>
          <p:nvPr userDrawn="1"/>
        </p:nvSpPr>
        <p:spPr>
          <a:xfrm>
            <a:off x="26579542" y="38924119"/>
            <a:ext cx="22621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Vote for Best Poster Award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EB086BD-15E8-52ED-9C72-9B2032C208F3}"/>
              </a:ext>
            </a:extLst>
          </p:cNvPr>
          <p:cNvSpPr txBox="1"/>
          <p:nvPr userDrawn="1"/>
        </p:nvSpPr>
        <p:spPr>
          <a:xfrm>
            <a:off x="1467182" y="11394357"/>
            <a:ext cx="4320000" cy="46166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031931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5" r:id="rId2"/>
  </p:sldLayoutIdLst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B596D63-F5F5-FB1C-0367-1B89732FB1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045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596D63-F5F5-FB1C-0367-1B89732FB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4"/>
          <p:cNvSpPr txBox="1">
            <a:spLocks noChangeArrowheads="1"/>
          </p:cNvSpPr>
          <p:nvPr/>
        </p:nvSpPr>
        <p:spPr bwMode="auto">
          <a:xfrm>
            <a:off x="1509713" y="7504771"/>
            <a:ext cx="16483600" cy="2958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Title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of</a:t>
            </a: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submission</a:t>
            </a:r>
            <a:endParaRPr lang="de-DE" altLang="de-DE" sz="8740" b="1" dirty="0">
              <a:latin typeface="ZEISS Frutiger Next W1G Heavy" panose="020B0903040204020203" pitchFamily="34" charset="0"/>
              <a:cs typeface="ZEISS Frutiger Next W1G Heavy" panose="020B0903040204020203" pitchFamily="34" charset="0"/>
            </a:endParaRPr>
          </a:p>
          <a:p>
            <a:pPr>
              <a:spcBef>
                <a:spcPct val="50000"/>
              </a:spcBef>
            </a:pP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am </a:t>
            </a:r>
            <a:r>
              <a:rPr lang="de-DE" altLang="de-DE" sz="6555" dirty="0" err="1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members</a:t>
            </a: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 Name + SBU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7AD2EE2-716B-4535-9986-A50C5938D741}"/>
              </a:ext>
            </a:extLst>
          </p:cNvPr>
          <p:cNvSpPr txBox="1"/>
          <p:nvPr/>
        </p:nvSpPr>
        <p:spPr>
          <a:xfrm>
            <a:off x="27446838" y="39715252"/>
            <a:ext cx="14911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V1.1 012024</a:t>
            </a:r>
            <a:endParaRPr lang="en-US" sz="2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E30A2DA-169F-402D-BAD7-2729E2BFA514}"/>
              </a:ext>
            </a:extLst>
          </p:cNvPr>
          <p:cNvSpPr txBox="1"/>
          <p:nvPr/>
        </p:nvSpPr>
        <p:spPr>
          <a:xfrm>
            <a:off x="1488450" y="12288780"/>
            <a:ext cx="27360000" cy="29904249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Autofit/>
          </a:bodyPr>
          <a:lstStyle/>
          <a:p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Description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of</a:t>
            </a:r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project</a:t>
            </a:r>
            <a:endParaRPr lang="de-DE" altLang="de-DE" sz="4800" b="1" dirty="0">
              <a:solidFill>
                <a:srgbClr val="000000"/>
              </a:solidFill>
              <a:latin typeface="ZEISS Frutiger Next W1G" panose="020B0503040204020203" pitchFamily="34" charset="0"/>
              <a:cs typeface="ZEISS Frutiger Next W1G" panose="020B0503040204020203" pitchFamily="34" charset="0"/>
            </a:endParaRPr>
          </a:p>
          <a:p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iec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f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advic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English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nly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Writ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you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xt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hort and sweet, but clea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legal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imag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and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diagrams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ubdivision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(e. g. in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ingl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box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econd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,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leas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use the available space in the box here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endParaRPr lang="en-US" sz="4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634C97A-B6E0-9A9D-DEEF-E74604535954}"/>
              </a:ext>
            </a:extLst>
          </p:cNvPr>
          <p:cNvSpPr txBox="1"/>
          <p:nvPr/>
        </p:nvSpPr>
        <p:spPr>
          <a:xfrm>
            <a:off x="26656758" y="9848176"/>
            <a:ext cx="2191692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change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oster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You‘ll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ind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uthor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tification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EB0296B-FAA0-1A22-9F29-B57D18F67AF9}"/>
              </a:ext>
            </a:extLst>
          </p:cNvPr>
          <p:cNvSpPr txBox="1"/>
          <p:nvPr/>
        </p:nvSpPr>
        <p:spPr>
          <a:xfrm>
            <a:off x="1509713" y="11414229"/>
            <a:ext cx="35076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Please</a:t>
            </a:r>
            <a:r>
              <a:rPr lang="de-DE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enter</a:t>
            </a:r>
            <a:r>
              <a:rPr lang="de-DE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level</a:t>
            </a:r>
            <a:r>
              <a:rPr lang="de-DE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of</a:t>
            </a:r>
            <a:r>
              <a:rPr lang="de-DE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classification</a:t>
            </a:r>
            <a:endParaRPr lang="de-DE" dirty="0">
              <a:highlight>
                <a:srgbClr val="FFFF00"/>
              </a:highlight>
              <a:latin typeface="ZEISS Frutiger Next W1G Hv Cn" panose="020B0906040204020203" pitchFamily="34" charset="0"/>
              <a:cs typeface="ZEISS Frutiger Next W1G Hv Cn" panose="020B0906040204020203" pitchFamily="34" charset="0"/>
            </a:endParaRPr>
          </a:p>
          <a:p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F91FC29-44AA-D25D-9A7C-BD5980B0729C}"/>
              </a:ext>
            </a:extLst>
          </p:cNvPr>
          <p:cNvSpPr txBox="1"/>
          <p:nvPr/>
        </p:nvSpPr>
        <p:spPr>
          <a:xfrm>
            <a:off x="1468237" y="834564"/>
            <a:ext cx="27338737" cy="579082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>
                <a:highlight>
                  <a:srgbClr val="FFFF00"/>
                </a:highlight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Action needed: 1) choose your category 2) change font size to 200 3) delete the rest incl. this text</a:t>
            </a:r>
          </a:p>
          <a:p>
            <a:r>
              <a:rPr lang="en-US" dirty="0">
                <a:solidFill>
                  <a:schemeClr val="accent1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AI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chemeClr val="accent4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Development Methods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A70240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Digital Twins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FF80FF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Human-Machine-Interaction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0072EF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Imaging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EA591B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Inspection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B1006F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Large Data &amp; IT Infrastructure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6AB0E2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Lithography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778592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Manufacturing Methods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E71E1E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Metrology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244A86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Ophthalmic Solutions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32373E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Optical Design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</a:p>
          <a:p>
            <a:r>
              <a:rPr lang="en-US" dirty="0">
                <a:solidFill>
                  <a:srgbClr val="8DAAC8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Photonic Components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0F2DB3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Roadmapping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0092B0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Surgical Solutions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  </a:t>
            </a:r>
            <a:r>
              <a:rPr lang="en-US" dirty="0">
                <a:solidFill>
                  <a:srgbClr val="1E8565"/>
                </a:solidFill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Sustainability</a:t>
            </a:r>
            <a:r>
              <a:rPr lang="en-US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</a:t>
            </a:r>
          </a:p>
          <a:p>
            <a:endParaRPr lang="en-US" dirty="0">
              <a:latin typeface="ZEISS Frutiger Next W1G Heavy" panose="020B0903040204020203" pitchFamily="34" charset="0"/>
              <a:cs typeface="ZEISS Frutiger Next W1G Heavy" panose="020B09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0462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2121713-4935-4c8b-a81e-9e6278b8e60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2013 – 2022-Design">
  <a:themeElements>
    <a:clrScheme name="Office 2013 – 2022-Desig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– 2022-Design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– 2022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615CDE94A37B4DAFE16161319155B6" ma:contentTypeVersion="7" ma:contentTypeDescription="Create a new document." ma:contentTypeScope="" ma:versionID="374a5336eb7ee252f6141667510149a4">
  <xsd:schema xmlns:xsd="http://www.w3.org/2001/XMLSchema" xmlns:xs="http://www.w3.org/2001/XMLSchema" xmlns:p="http://schemas.microsoft.com/office/2006/metadata/properties" xmlns:ns2="acda96ba-ab8e-4ba7-8873-b22087d7d977" targetNamespace="http://schemas.microsoft.com/office/2006/metadata/properties" ma:root="true" ma:fieldsID="6037b7623d4b1f66cb90138fb7b1b63a" ns2:_="">
    <xsd:import namespace="acda96ba-ab8e-4ba7-8873-b22087d7d9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da96ba-ab8e-4ba7-8873-b22087d7d9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5FF793E-F8A6-48AD-9BD9-E7A240261D8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da96ba-ab8e-4ba7-8873-b22087d7d977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1401AE7-4189-47F5-AC8F-6D71C38E45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FA23B4-3BF9-46C2-9BCD-B1C6603328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da96ba-ab8e-4ba7-8873-b22087d7d9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145</Words>
  <Application>Microsoft Office PowerPoint</Application>
  <PresentationFormat>Benutzerdefiniert</PresentationFormat>
  <Paragraphs>1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Wingdings</vt:lpstr>
      <vt:lpstr>ZEISS Frutiger Next W1G</vt:lpstr>
      <vt:lpstr>ZEISS Frutiger Next W1G Heavy</vt:lpstr>
      <vt:lpstr>ZEISS Frutiger Next W1G Hv Cn</vt:lpstr>
      <vt:lpstr>ZEISS Frutiger Next W1G Light</vt:lpstr>
      <vt:lpstr>Office 2013 – 2022-Design</vt:lpstr>
      <vt:lpstr>think-cell Folie</vt:lpstr>
      <vt:lpstr>PowerPoint-Präsentation</vt:lpstr>
    </vt:vector>
  </TitlesOfParts>
  <Company>Carl Zeis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legelmilch, Stefanie</dc:creator>
  <cp:lastModifiedBy>Hammad, Leila</cp:lastModifiedBy>
  <cp:revision>186</cp:revision>
  <cp:lastPrinted>2017-08-28T07:00:15Z</cp:lastPrinted>
  <dcterms:created xsi:type="dcterms:W3CDTF">2017-06-09T05:35:51Z</dcterms:created>
  <dcterms:modified xsi:type="dcterms:W3CDTF">2025-02-13T12:3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615CDE94A37B4DAFE16161319155B6</vt:lpwstr>
  </property>
</Properties>
</file>